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</p:sldMasterIdLst>
  <p:notesMasterIdLst>
    <p:notesMasterId r:id="rId15"/>
  </p:notesMasterIdLst>
  <p:handoutMasterIdLst>
    <p:handoutMasterId r:id="rId16"/>
  </p:handoutMasterIdLst>
  <p:sldIdLst>
    <p:sldId id="265" r:id="rId2"/>
    <p:sldId id="266" r:id="rId3"/>
    <p:sldId id="267" r:id="rId4"/>
    <p:sldId id="269" r:id="rId5"/>
    <p:sldId id="270" r:id="rId6"/>
    <p:sldId id="271" r:id="rId7"/>
    <p:sldId id="272" r:id="rId8"/>
    <p:sldId id="277" r:id="rId9"/>
    <p:sldId id="268" r:id="rId10"/>
    <p:sldId id="273" r:id="rId11"/>
    <p:sldId id="274" r:id="rId12"/>
    <p:sldId id="275" r:id="rId13"/>
    <p:sldId id="276" r:id="rId14"/>
  </p:sldIdLst>
  <p:sldSz cx="9144000" cy="5143500" type="screen16x9"/>
  <p:notesSz cx="7104063" cy="10234613"/>
  <p:custDataLst>
    <p:tags r:id="rId17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11" autoAdjust="0"/>
    <p:restoredTop sz="74128" autoAdjust="0"/>
  </p:normalViewPr>
  <p:slideViewPr>
    <p:cSldViewPr snapToObjects="1">
      <p:cViewPr>
        <p:scale>
          <a:sx n="80" d="100"/>
          <a:sy n="80" d="100"/>
        </p:scale>
        <p:origin x="-1651" y="-182"/>
      </p:cViewPr>
      <p:guideLst>
        <p:guide orient="horz" pos="1620"/>
        <p:guide orient="horz" pos="539"/>
        <p:guide orient="horz" pos="1801"/>
        <p:guide pos="2880"/>
        <p:guide pos="54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Objects="1">
      <p:cViewPr varScale="1">
        <p:scale>
          <a:sx n="61" d="100"/>
          <a:sy n="61" d="100"/>
        </p:scale>
        <p:origin x="-3278" y="-91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/>
          <a:lstStyle>
            <a:lvl1pPr algn="l">
              <a:defRPr sz="1200"/>
            </a:lvl1pPr>
          </a:lstStyle>
          <a:p>
            <a:r>
              <a:rPr lang="nl-NL" dirty="0" smtClean="0"/>
              <a:t>Titel van de presentatie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4023994" y="0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/>
          <a:lstStyle>
            <a:lvl1pPr algn="r">
              <a:defRPr sz="1200"/>
            </a:lvl1pPr>
          </a:lstStyle>
          <a:p>
            <a:fld id="{C5EEFA4B-77C2-481A-ABD0-DB23CAD51848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2" y="9721106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4023994" y="9721106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 anchor="b"/>
          <a:lstStyle>
            <a:lvl1pPr algn="r">
              <a:defRPr sz="1200"/>
            </a:lvl1pPr>
          </a:lstStyle>
          <a:p>
            <a:fld id="{E667C337-BE69-40D5-A2C3-B572D8434EAF}" type="slidenum">
              <a:rPr lang="nl-NL" smtClean="0"/>
              <a:pPr/>
              <a:t>‹Nº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42793701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/>
          <a:lstStyle>
            <a:lvl1pPr algn="l">
              <a:defRPr sz="1200"/>
            </a:lvl1pPr>
          </a:lstStyle>
          <a:p>
            <a:r>
              <a:rPr lang="nl-NL" dirty="0" smtClean="0"/>
              <a:t>Titel van de presentatie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4023994" y="0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/>
          <a:lstStyle>
            <a:lvl1pPr algn="r">
              <a:defRPr sz="1200"/>
            </a:lvl1pPr>
          </a:lstStyle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24663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75" tIns="47387" rIns="94775" bIns="47387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710407" y="4861444"/>
            <a:ext cx="5683250" cy="4605576"/>
          </a:xfrm>
          <a:prstGeom prst="rect">
            <a:avLst/>
          </a:prstGeom>
        </p:spPr>
        <p:txBody>
          <a:bodyPr vert="horz" lIns="94775" tIns="47387" rIns="94775" bIns="47387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2" y="9721106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4023994" y="9721106"/>
            <a:ext cx="3078427" cy="511731"/>
          </a:xfrm>
          <a:prstGeom prst="rect">
            <a:avLst/>
          </a:prstGeom>
        </p:spPr>
        <p:txBody>
          <a:bodyPr vert="horz" lIns="94775" tIns="47387" rIns="94775" bIns="47387" rtlCol="0" anchor="b"/>
          <a:lstStyle>
            <a:lvl1pPr algn="r">
              <a:defRPr sz="1200"/>
            </a:lvl1pPr>
          </a:lstStyle>
          <a:p>
            <a:fld id="{801935DF-413D-4C75-8A60-925A728E0BBB}" type="slidenum">
              <a:rPr lang="nl-NL" smtClean="0"/>
              <a:pPr/>
              <a:t>‹Nº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25766074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smtClean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389340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54771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578855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922231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1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776843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noProof="0" dirty="0" smtClean="0"/>
          </a:p>
          <a:p>
            <a:endParaRPr lang="en-US" baseline="0" noProof="0" dirty="0" smtClean="0"/>
          </a:p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3306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802377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65973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5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517784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702090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590379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222216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koptekst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EC21D8-2BA0-4B3C-980A-4A3FF683EAE5}" type="datetime8">
              <a:rPr lang="nl-NL" smtClean="0"/>
              <a:pPr/>
              <a:t>19-9-2017 9:04</a:t>
            </a:fld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1935DF-413D-4C75-8A60-925A728E0BBB}" type="slidenum">
              <a:rPr lang="nl-NL" smtClean="0"/>
              <a:pPr/>
              <a:t>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4988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/>
          <p:cNvGrpSpPr/>
          <p:nvPr userDrawn="1"/>
        </p:nvGrpSpPr>
        <p:grpSpPr>
          <a:xfrm>
            <a:off x="535677" y="851718"/>
            <a:ext cx="6071591" cy="2085324"/>
            <a:chOff x="535677" y="792000"/>
            <a:chExt cx="6071591" cy="2085324"/>
          </a:xfrm>
        </p:grpSpPr>
        <p:sp>
          <p:nvSpPr>
            <p:cNvPr id="30" name="Rechthoek 28"/>
            <p:cNvSpPr/>
            <p:nvPr userDrawn="1"/>
          </p:nvSpPr>
          <p:spPr bwMode="black">
            <a:xfrm>
              <a:off x="536400" y="1416277"/>
              <a:ext cx="6069600" cy="11554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endParaRPr lang="nl-NL" b="1" i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Verdana" pitchFamily="34" charset="0"/>
              </a:endParaRPr>
            </a:p>
          </p:txBody>
        </p:sp>
        <p:sp>
          <p:nvSpPr>
            <p:cNvPr id="32" name="Afgeronde rechthoek 16"/>
            <p:cNvSpPr/>
            <p:nvPr userDrawn="1"/>
          </p:nvSpPr>
          <p:spPr bwMode="black">
            <a:xfrm>
              <a:off x="535677" y="792000"/>
              <a:ext cx="6070868" cy="749612"/>
            </a:xfrm>
            <a:custGeom>
              <a:avLst/>
              <a:gdLst>
                <a:gd name="connsiteX0" fmla="*/ 0 w 6069600"/>
                <a:gd name="connsiteY0" fmla="*/ 124938 h 749612"/>
                <a:gd name="connsiteX1" fmla="*/ 124938 w 6069600"/>
                <a:gd name="connsiteY1" fmla="*/ 0 h 749612"/>
                <a:gd name="connsiteX2" fmla="*/ 5944662 w 6069600"/>
                <a:gd name="connsiteY2" fmla="*/ 0 h 749612"/>
                <a:gd name="connsiteX3" fmla="*/ 6069600 w 6069600"/>
                <a:gd name="connsiteY3" fmla="*/ 124938 h 749612"/>
                <a:gd name="connsiteX4" fmla="*/ 6069600 w 6069600"/>
                <a:gd name="connsiteY4" fmla="*/ 624674 h 749612"/>
                <a:gd name="connsiteX5" fmla="*/ 5944662 w 6069600"/>
                <a:gd name="connsiteY5" fmla="*/ 749612 h 749612"/>
                <a:gd name="connsiteX6" fmla="*/ 124938 w 6069600"/>
                <a:gd name="connsiteY6" fmla="*/ 749612 h 749612"/>
                <a:gd name="connsiteX7" fmla="*/ 0 w 6069600"/>
                <a:gd name="connsiteY7" fmla="*/ 624674 h 749612"/>
                <a:gd name="connsiteX8" fmla="*/ 0 w 6069600"/>
                <a:gd name="connsiteY8" fmla="*/ 124938 h 749612"/>
                <a:gd name="connsiteX0" fmla="*/ 0 w 6069600"/>
                <a:gd name="connsiteY0" fmla="*/ 624674 h 749612"/>
                <a:gd name="connsiteX1" fmla="*/ 124938 w 6069600"/>
                <a:gd name="connsiteY1" fmla="*/ 0 h 749612"/>
                <a:gd name="connsiteX2" fmla="*/ 5944662 w 6069600"/>
                <a:gd name="connsiteY2" fmla="*/ 0 h 749612"/>
                <a:gd name="connsiteX3" fmla="*/ 6069600 w 6069600"/>
                <a:gd name="connsiteY3" fmla="*/ 124938 h 749612"/>
                <a:gd name="connsiteX4" fmla="*/ 6069600 w 6069600"/>
                <a:gd name="connsiteY4" fmla="*/ 624674 h 749612"/>
                <a:gd name="connsiteX5" fmla="*/ 5944662 w 6069600"/>
                <a:gd name="connsiteY5" fmla="*/ 749612 h 749612"/>
                <a:gd name="connsiteX6" fmla="*/ 124938 w 6069600"/>
                <a:gd name="connsiteY6" fmla="*/ 749612 h 749612"/>
                <a:gd name="connsiteX7" fmla="*/ 0 w 6069600"/>
                <a:gd name="connsiteY7" fmla="*/ 624674 h 749612"/>
                <a:gd name="connsiteX0" fmla="*/ 1268 w 6070868"/>
                <a:gd name="connsiteY0" fmla="*/ 624674 h 749612"/>
                <a:gd name="connsiteX1" fmla="*/ 0 w 6070868"/>
                <a:gd name="connsiteY1" fmla="*/ 0 h 749612"/>
                <a:gd name="connsiteX2" fmla="*/ 5945930 w 6070868"/>
                <a:gd name="connsiteY2" fmla="*/ 0 h 749612"/>
                <a:gd name="connsiteX3" fmla="*/ 6070868 w 6070868"/>
                <a:gd name="connsiteY3" fmla="*/ 124938 h 749612"/>
                <a:gd name="connsiteX4" fmla="*/ 6070868 w 6070868"/>
                <a:gd name="connsiteY4" fmla="*/ 624674 h 749612"/>
                <a:gd name="connsiteX5" fmla="*/ 5945930 w 6070868"/>
                <a:gd name="connsiteY5" fmla="*/ 749612 h 749612"/>
                <a:gd name="connsiteX6" fmla="*/ 126206 w 6070868"/>
                <a:gd name="connsiteY6" fmla="*/ 749612 h 749612"/>
                <a:gd name="connsiteX7" fmla="*/ 1268 w 6070868"/>
                <a:gd name="connsiteY7" fmla="*/ 624674 h 74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70868" h="749612">
                  <a:moveTo>
                    <a:pt x="1268" y="624674"/>
                  </a:moveTo>
                  <a:cubicBezTo>
                    <a:pt x="845" y="416449"/>
                    <a:pt x="423" y="208225"/>
                    <a:pt x="0" y="0"/>
                  </a:cubicBezTo>
                  <a:lnTo>
                    <a:pt x="5945930" y="0"/>
                  </a:lnTo>
                  <a:cubicBezTo>
                    <a:pt x="6014931" y="0"/>
                    <a:pt x="6070868" y="55937"/>
                    <a:pt x="6070868" y="124938"/>
                  </a:cubicBezTo>
                  <a:lnTo>
                    <a:pt x="6070868" y="624674"/>
                  </a:lnTo>
                  <a:cubicBezTo>
                    <a:pt x="6070868" y="693675"/>
                    <a:pt x="6014931" y="749612"/>
                    <a:pt x="5945930" y="749612"/>
                  </a:cubicBezTo>
                  <a:lnTo>
                    <a:pt x="126206" y="749612"/>
                  </a:lnTo>
                  <a:cubicBezTo>
                    <a:pt x="57205" y="749612"/>
                    <a:pt x="1268" y="693675"/>
                    <a:pt x="1268" y="6246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endParaRPr lang="nl-NL" b="1" i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Verdana" pitchFamily="34" charset="0"/>
              </a:endParaRPr>
            </a:p>
          </p:txBody>
        </p:sp>
        <p:sp>
          <p:nvSpPr>
            <p:cNvPr id="33" name="Afgeronde rechthoek 16"/>
            <p:cNvSpPr/>
            <p:nvPr userDrawn="1"/>
          </p:nvSpPr>
          <p:spPr bwMode="black">
            <a:xfrm>
              <a:off x="536400" y="2127712"/>
              <a:ext cx="6070868" cy="749612"/>
            </a:xfrm>
            <a:custGeom>
              <a:avLst/>
              <a:gdLst>
                <a:gd name="connsiteX0" fmla="*/ 0 w 6069600"/>
                <a:gd name="connsiteY0" fmla="*/ 124938 h 749612"/>
                <a:gd name="connsiteX1" fmla="*/ 124938 w 6069600"/>
                <a:gd name="connsiteY1" fmla="*/ 0 h 749612"/>
                <a:gd name="connsiteX2" fmla="*/ 5944662 w 6069600"/>
                <a:gd name="connsiteY2" fmla="*/ 0 h 749612"/>
                <a:gd name="connsiteX3" fmla="*/ 6069600 w 6069600"/>
                <a:gd name="connsiteY3" fmla="*/ 124938 h 749612"/>
                <a:gd name="connsiteX4" fmla="*/ 6069600 w 6069600"/>
                <a:gd name="connsiteY4" fmla="*/ 624674 h 749612"/>
                <a:gd name="connsiteX5" fmla="*/ 5944662 w 6069600"/>
                <a:gd name="connsiteY5" fmla="*/ 749612 h 749612"/>
                <a:gd name="connsiteX6" fmla="*/ 124938 w 6069600"/>
                <a:gd name="connsiteY6" fmla="*/ 749612 h 749612"/>
                <a:gd name="connsiteX7" fmla="*/ 0 w 6069600"/>
                <a:gd name="connsiteY7" fmla="*/ 624674 h 749612"/>
                <a:gd name="connsiteX8" fmla="*/ 0 w 6069600"/>
                <a:gd name="connsiteY8" fmla="*/ 124938 h 749612"/>
                <a:gd name="connsiteX0" fmla="*/ 0 w 6069600"/>
                <a:gd name="connsiteY0" fmla="*/ 624674 h 749612"/>
                <a:gd name="connsiteX1" fmla="*/ 124938 w 6069600"/>
                <a:gd name="connsiteY1" fmla="*/ 0 h 749612"/>
                <a:gd name="connsiteX2" fmla="*/ 5944662 w 6069600"/>
                <a:gd name="connsiteY2" fmla="*/ 0 h 749612"/>
                <a:gd name="connsiteX3" fmla="*/ 6069600 w 6069600"/>
                <a:gd name="connsiteY3" fmla="*/ 124938 h 749612"/>
                <a:gd name="connsiteX4" fmla="*/ 6069600 w 6069600"/>
                <a:gd name="connsiteY4" fmla="*/ 624674 h 749612"/>
                <a:gd name="connsiteX5" fmla="*/ 5944662 w 6069600"/>
                <a:gd name="connsiteY5" fmla="*/ 749612 h 749612"/>
                <a:gd name="connsiteX6" fmla="*/ 124938 w 6069600"/>
                <a:gd name="connsiteY6" fmla="*/ 749612 h 749612"/>
                <a:gd name="connsiteX7" fmla="*/ 0 w 6069600"/>
                <a:gd name="connsiteY7" fmla="*/ 624674 h 749612"/>
                <a:gd name="connsiteX0" fmla="*/ 1268 w 6070868"/>
                <a:gd name="connsiteY0" fmla="*/ 624674 h 749612"/>
                <a:gd name="connsiteX1" fmla="*/ 0 w 6070868"/>
                <a:gd name="connsiteY1" fmla="*/ 0 h 749612"/>
                <a:gd name="connsiteX2" fmla="*/ 5945930 w 6070868"/>
                <a:gd name="connsiteY2" fmla="*/ 0 h 749612"/>
                <a:gd name="connsiteX3" fmla="*/ 6070868 w 6070868"/>
                <a:gd name="connsiteY3" fmla="*/ 124938 h 749612"/>
                <a:gd name="connsiteX4" fmla="*/ 6070868 w 6070868"/>
                <a:gd name="connsiteY4" fmla="*/ 624674 h 749612"/>
                <a:gd name="connsiteX5" fmla="*/ 5945930 w 6070868"/>
                <a:gd name="connsiteY5" fmla="*/ 749612 h 749612"/>
                <a:gd name="connsiteX6" fmla="*/ 126206 w 6070868"/>
                <a:gd name="connsiteY6" fmla="*/ 749612 h 749612"/>
                <a:gd name="connsiteX7" fmla="*/ 1268 w 6070868"/>
                <a:gd name="connsiteY7" fmla="*/ 624674 h 749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70868" h="749612">
                  <a:moveTo>
                    <a:pt x="1268" y="624674"/>
                  </a:moveTo>
                  <a:cubicBezTo>
                    <a:pt x="845" y="416449"/>
                    <a:pt x="423" y="208225"/>
                    <a:pt x="0" y="0"/>
                  </a:cubicBezTo>
                  <a:lnTo>
                    <a:pt x="5945930" y="0"/>
                  </a:lnTo>
                  <a:cubicBezTo>
                    <a:pt x="6014931" y="0"/>
                    <a:pt x="6070868" y="55937"/>
                    <a:pt x="6070868" y="124938"/>
                  </a:cubicBezTo>
                  <a:lnTo>
                    <a:pt x="6070868" y="624674"/>
                  </a:lnTo>
                  <a:cubicBezTo>
                    <a:pt x="6070868" y="693675"/>
                    <a:pt x="6014931" y="749612"/>
                    <a:pt x="5945930" y="749612"/>
                  </a:cubicBezTo>
                  <a:lnTo>
                    <a:pt x="126206" y="749612"/>
                  </a:lnTo>
                  <a:cubicBezTo>
                    <a:pt x="57205" y="749612"/>
                    <a:pt x="1268" y="693675"/>
                    <a:pt x="1268" y="62467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endParaRPr lang="nl-NL" b="1" i="0" baseline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Verdana" pitchFamily="34" charset="0"/>
              </a:endParaRPr>
            </a:p>
          </p:txBody>
        </p:sp>
      </p:grp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 bwMode="black">
          <a:xfrm>
            <a:off x="1069200" y="3039618"/>
            <a:ext cx="5400000" cy="180000"/>
          </a:xfrm>
        </p:spPr>
        <p:txBody>
          <a:bodyPr/>
          <a:lstStyle>
            <a:lvl1pPr algn="l">
              <a:defRPr sz="1400" b="0" i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Datum</a:t>
            </a:r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 bwMode="hidden">
          <a:xfrm>
            <a:off x="1051200" y="4749300"/>
            <a:ext cx="5400000" cy="180000"/>
          </a:xfrm>
        </p:spPr>
        <p:txBody>
          <a:bodyPr/>
          <a:lstStyle>
            <a:lvl1pPr algn="l">
              <a:defRPr sz="1400" b="0" i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Titel van de presentatie</a:t>
            </a:r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69200" y="2492075"/>
            <a:ext cx="5400000" cy="27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2500"/>
              </a:lnSpc>
              <a:buNone/>
              <a:defRPr sz="1800" b="0">
                <a:solidFill>
                  <a:schemeClr val="bg1"/>
                </a:solidFill>
                <a:latin typeface="Arial" pitchFamily="34" charset="0"/>
                <a:ea typeface="Verdana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Ondertitel</a:t>
            </a:r>
            <a:endParaRPr lang="nl-NL" dirty="0"/>
          </a:p>
        </p:txBody>
      </p:sp>
      <p:sp>
        <p:nvSpPr>
          <p:cNvPr id="13" name="Tijdelijke aanduiding voor inhoud 2"/>
          <p:cNvSpPr>
            <a:spLocks noGrp="1"/>
          </p:cNvSpPr>
          <p:nvPr>
            <p:ph idx="14" hasCustomPrompt="1"/>
          </p:nvPr>
        </p:nvSpPr>
        <p:spPr>
          <a:xfrm>
            <a:off x="1069200" y="3290868"/>
            <a:ext cx="5400000" cy="180000"/>
          </a:xfrm>
        </p:spPr>
        <p:txBody>
          <a:bodyPr wrap="none" lIns="0" tIns="0" rIns="0" bIns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accent1"/>
                </a:solidFill>
              </a:defRPr>
            </a:lvl1pPr>
            <a:lvl2pPr>
              <a:lnSpc>
                <a:spcPct val="110000"/>
              </a:lnSpc>
              <a:spcAft>
                <a:spcPts val="1000"/>
              </a:spcAft>
              <a:defRPr/>
            </a:lvl2pPr>
            <a:lvl3pPr>
              <a:lnSpc>
                <a:spcPct val="110000"/>
              </a:lnSpc>
              <a:spcAft>
                <a:spcPts val="1000"/>
              </a:spcAft>
              <a:defRPr/>
            </a:lvl3pPr>
            <a:lvl4pPr>
              <a:lnSpc>
                <a:spcPct val="110000"/>
              </a:lnSpc>
              <a:spcAft>
                <a:spcPts val="1000"/>
              </a:spcAft>
              <a:defRPr/>
            </a:lvl4pPr>
            <a:lvl5pPr>
              <a:lnSpc>
                <a:spcPct val="110000"/>
              </a:lnSpc>
              <a:spcAft>
                <a:spcPts val="1000"/>
              </a:spcAft>
              <a:defRPr/>
            </a:lvl5pPr>
          </a:lstStyle>
          <a:p>
            <a:pPr lvl="0"/>
            <a:r>
              <a:rPr lang="nl-NL" dirty="0" smtClean="0"/>
              <a:t>Auteur</a:t>
            </a:r>
            <a:endParaRPr lang="nl-NL" dirty="0"/>
          </a:p>
        </p:txBody>
      </p:sp>
      <p:sp>
        <p:nvSpPr>
          <p:cNvPr id="14" name="Tijdelijke aanduiding voor inhoud 2"/>
          <p:cNvSpPr>
            <a:spLocks noGrp="1"/>
          </p:cNvSpPr>
          <p:nvPr>
            <p:ph idx="15" hasCustomPrompt="1"/>
          </p:nvPr>
        </p:nvSpPr>
        <p:spPr>
          <a:xfrm>
            <a:off x="1069200" y="3542868"/>
            <a:ext cx="5400000" cy="180000"/>
          </a:xfrm>
        </p:spPr>
        <p:txBody>
          <a:bodyPr wrap="none" lIns="0" tIns="0" rIns="0" bIns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accent1"/>
                </a:solidFill>
              </a:defRPr>
            </a:lvl1pPr>
            <a:lvl2pPr>
              <a:lnSpc>
                <a:spcPct val="110000"/>
              </a:lnSpc>
              <a:spcAft>
                <a:spcPts val="1000"/>
              </a:spcAft>
              <a:defRPr/>
            </a:lvl2pPr>
            <a:lvl3pPr>
              <a:lnSpc>
                <a:spcPct val="110000"/>
              </a:lnSpc>
              <a:spcAft>
                <a:spcPts val="1000"/>
              </a:spcAft>
              <a:defRPr/>
            </a:lvl3pPr>
            <a:lvl4pPr>
              <a:lnSpc>
                <a:spcPct val="110000"/>
              </a:lnSpc>
              <a:spcAft>
                <a:spcPts val="1000"/>
              </a:spcAft>
              <a:defRPr/>
            </a:lvl4pPr>
            <a:lvl5pPr>
              <a:lnSpc>
                <a:spcPct val="110000"/>
              </a:lnSpc>
              <a:spcAft>
                <a:spcPts val="1000"/>
              </a:spcAft>
              <a:defRPr/>
            </a:lvl5pPr>
          </a:lstStyle>
          <a:p>
            <a:pPr lvl="0"/>
            <a:r>
              <a:rPr lang="nl-NL" dirty="0" smtClean="0"/>
              <a:t>Afdeling</a:t>
            </a:r>
            <a:endParaRPr lang="nl-NL" dirty="0"/>
          </a:p>
        </p:txBody>
      </p:sp>
      <p:sp>
        <p:nvSpPr>
          <p:cNvPr id="15" name="Tijdelijke aanduiding voor inhoud 2"/>
          <p:cNvSpPr>
            <a:spLocks noGrp="1"/>
          </p:cNvSpPr>
          <p:nvPr userDrawn="1">
            <p:ph idx="16" hasCustomPrompt="1"/>
          </p:nvPr>
        </p:nvSpPr>
        <p:spPr bwMode="white">
          <a:xfrm>
            <a:off x="1051200" y="1058418"/>
            <a:ext cx="5400000" cy="102600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800">
                <a:solidFill>
                  <a:schemeClr val="bg1"/>
                </a:solidFill>
              </a:defRPr>
            </a:lvl1pPr>
            <a:lvl2pPr marL="174625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2pPr>
            <a:lvl3pPr marL="363538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3pPr>
            <a:lvl4pPr marL="538163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4pPr>
            <a:lvl5pPr marL="712787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5pPr>
          </a:lstStyle>
          <a:p>
            <a:pPr lvl="0"/>
            <a:r>
              <a:rPr lang="nl-NL" dirty="0" smtClean="0"/>
              <a:t>Titel</a:t>
            </a:r>
          </a:p>
        </p:txBody>
      </p:sp>
      <p:grpSp>
        <p:nvGrpSpPr>
          <p:cNvPr id="35" name="Groep 15"/>
          <p:cNvGrpSpPr/>
          <p:nvPr userDrawn="1"/>
        </p:nvGrpSpPr>
        <p:grpSpPr>
          <a:xfrm>
            <a:off x="6705600" y="129539"/>
            <a:ext cx="2133600" cy="1054327"/>
            <a:chOff x="6705600" y="361950"/>
            <a:chExt cx="2133600" cy="1054327"/>
          </a:xfrm>
        </p:grpSpPr>
        <p:pic>
          <p:nvPicPr>
            <p:cNvPr id="36" name="Afbeelding 1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767" t="17659" r="11146" b="19141"/>
            <a:stretch>
              <a:fillRect/>
            </a:stretch>
          </p:blipFill>
          <p:spPr>
            <a:xfrm>
              <a:off x="6858000" y="361950"/>
              <a:ext cx="1981200" cy="973284"/>
            </a:xfrm>
            <a:prstGeom prst="rect">
              <a:avLst/>
            </a:prstGeom>
          </p:spPr>
        </p:pic>
        <p:pic>
          <p:nvPicPr>
            <p:cNvPr id="37" name="Afbeelding 1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21" t="22034" r="11146" b="13782"/>
            <a:stretch>
              <a:fillRect/>
            </a:stretch>
          </p:blipFill>
          <p:spPr bwMode="hidden">
            <a:xfrm>
              <a:off x="6705600" y="361950"/>
              <a:ext cx="2133600" cy="10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6304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titel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fgeronde rechthoek 16"/>
          <p:cNvSpPr/>
          <p:nvPr userDrawn="1"/>
        </p:nvSpPr>
        <p:spPr bwMode="black">
          <a:xfrm>
            <a:off x="536400" y="1315462"/>
            <a:ext cx="5356800" cy="749612"/>
          </a:xfrm>
          <a:custGeom>
            <a:avLst/>
            <a:gdLst>
              <a:gd name="connsiteX0" fmla="*/ 0 w 6069600"/>
              <a:gd name="connsiteY0" fmla="*/ 124938 h 749612"/>
              <a:gd name="connsiteX1" fmla="*/ 124938 w 6069600"/>
              <a:gd name="connsiteY1" fmla="*/ 0 h 749612"/>
              <a:gd name="connsiteX2" fmla="*/ 5944662 w 6069600"/>
              <a:gd name="connsiteY2" fmla="*/ 0 h 749612"/>
              <a:gd name="connsiteX3" fmla="*/ 6069600 w 6069600"/>
              <a:gd name="connsiteY3" fmla="*/ 124938 h 749612"/>
              <a:gd name="connsiteX4" fmla="*/ 6069600 w 6069600"/>
              <a:gd name="connsiteY4" fmla="*/ 624674 h 749612"/>
              <a:gd name="connsiteX5" fmla="*/ 5944662 w 6069600"/>
              <a:gd name="connsiteY5" fmla="*/ 749612 h 749612"/>
              <a:gd name="connsiteX6" fmla="*/ 124938 w 6069600"/>
              <a:gd name="connsiteY6" fmla="*/ 749612 h 749612"/>
              <a:gd name="connsiteX7" fmla="*/ 0 w 6069600"/>
              <a:gd name="connsiteY7" fmla="*/ 624674 h 749612"/>
              <a:gd name="connsiteX8" fmla="*/ 0 w 6069600"/>
              <a:gd name="connsiteY8" fmla="*/ 124938 h 749612"/>
              <a:gd name="connsiteX0" fmla="*/ 0 w 6069600"/>
              <a:gd name="connsiteY0" fmla="*/ 624674 h 749612"/>
              <a:gd name="connsiteX1" fmla="*/ 124938 w 6069600"/>
              <a:gd name="connsiteY1" fmla="*/ 0 h 749612"/>
              <a:gd name="connsiteX2" fmla="*/ 5944662 w 6069600"/>
              <a:gd name="connsiteY2" fmla="*/ 0 h 749612"/>
              <a:gd name="connsiteX3" fmla="*/ 6069600 w 6069600"/>
              <a:gd name="connsiteY3" fmla="*/ 124938 h 749612"/>
              <a:gd name="connsiteX4" fmla="*/ 6069600 w 6069600"/>
              <a:gd name="connsiteY4" fmla="*/ 624674 h 749612"/>
              <a:gd name="connsiteX5" fmla="*/ 5944662 w 6069600"/>
              <a:gd name="connsiteY5" fmla="*/ 749612 h 749612"/>
              <a:gd name="connsiteX6" fmla="*/ 124938 w 6069600"/>
              <a:gd name="connsiteY6" fmla="*/ 749612 h 749612"/>
              <a:gd name="connsiteX7" fmla="*/ 0 w 6069600"/>
              <a:gd name="connsiteY7" fmla="*/ 624674 h 749612"/>
              <a:gd name="connsiteX0" fmla="*/ 1268 w 6070868"/>
              <a:gd name="connsiteY0" fmla="*/ 624674 h 749612"/>
              <a:gd name="connsiteX1" fmla="*/ 0 w 6070868"/>
              <a:gd name="connsiteY1" fmla="*/ 0 h 749612"/>
              <a:gd name="connsiteX2" fmla="*/ 5945930 w 6070868"/>
              <a:gd name="connsiteY2" fmla="*/ 0 h 749612"/>
              <a:gd name="connsiteX3" fmla="*/ 6070868 w 6070868"/>
              <a:gd name="connsiteY3" fmla="*/ 124938 h 749612"/>
              <a:gd name="connsiteX4" fmla="*/ 6070868 w 6070868"/>
              <a:gd name="connsiteY4" fmla="*/ 624674 h 749612"/>
              <a:gd name="connsiteX5" fmla="*/ 5945930 w 6070868"/>
              <a:gd name="connsiteY5" fmla="*/ 749612 h 749612"/>
              <a:gd name="connsiteX6" fmla="*/ 126206 w 6070868"/>
              <a:gd name="connsiteY6" fmla="*/ 749612 h 749612"/>
              <a:gd name="connsiteX7" fmla="*/ 1268 w 6070868"/>
              <a:gd name="connsiteY7" fmla="*/ 624674 h 749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0868" h="749612">
                <a:moveTo>
                  <a:pt x="1268" y="624674"/>
                </a:moveTo>
                <a:cubicBezTo>
                  <a:pt x="845" y="416449"/>
                  <a:pt x="423" y="208225"/>
                  <a:pt x="0" y="0"/>
                </a:cubicBezTo>
                <a:lnTo>
                  <a:pt x="5945930" y="0"/>
                </a:lnTo>
                <a:cubicBezTo>
                  <a:pt x="6014931" y="0"/>
                  <a:pt x="6070868" y="55937"/>
                  <a:pt x="6070868" y="124938"/>
                </a:cubicBezTo>
                <a:lnTo>
                  <a:pt x="6070868" y="624674"/>
                </a:lnTo>
                <a:cubicBezTo>
                  <a:pt x="6070868" y="693675"/>
                  <a:pt x="6014931" y="749612"/>
                  <a:pt x="5945930" y="749612"/>
                </a:cubicBezTo>
                <a:lnTo>
                  <a:pt x="126206" y="749612"/>
                </a:lnTo>
                <a:cubicBezTo>
                  <a:pt x="57205" y="749612"/>
                  <a:pt x="1268" y="693675"/>
                  <a:pt x="1268" y="62467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nl-NL" b="1" i="0" baseline="0" dirty="0" smtClean="0">
              <a:solidFill>
                <a:schemeClr val="accent2">
                  <a:lumMod val="60000"/>
                  <a:lumOff val="40000"/>
                </a:schemeClr>
              </a:solidFill>
              <a:latin typeface="Verdana" pitchFamily="34" charset="0"/>
            </a:endParaRPr>
          </a:p>
        </p:txBody>
      </p:sp>
      <p:sp>
        <p:nvSpPr>
          <p:cNvPr id="21" name="Afgeronde rechthoek 16"/>
          <p:cNvSpPr/>
          <p:nvPr userDrawn="1"/>
        </p:nvSpPr>
        <p:spPr bwMode="black">
          <a:xfrm>
            <a:off x="535677" y="859524"/>
            <a:ext cx="5357523" cy="749612"/>
          </a:xfrm>
          <a:custGeom>
            <a:avLst/>
            <a:gdLst>
              <a:gd name="connsiteX0" fmla="*/ 0 w 6069600"/>
              <a:gd name="connsiteY0" fmla="*/ 124938 h 749612"/>
              <a:gd name="connsiteX1" fmla="*/ 124938 w 6069600"/>
              <a:gd name="connsiteY1" fmla="*/ 0 h 749612"/>
              <a:gd name="connsiteX2" fmla="*/ 5944662 w 6069600"/>
              <a:gd name="connsiteY2" fmla="*/ 0 h 749612"/>
              <a:gd name="connsiteX3" fmla="*/ 6069600 w 6069600"/>
              <a:gd name="connsiteY3" fmla="*/ 124938 h 749612"/>
              <a:gd name="connsiteX4" fmla="*/ 6069600 w 6069600"/>
              <a:gd name="connsiteY4" fmla="*/ 624674 h 749612"/>
              <a:gd name="connsiteX5" fmla="*/ 5944662 w 6069600"/>
              <a:gd name="connsiteY5" fmla="*/ 749612 h 749612"/>
              <a:gd name="connsiteX6" fmla="*/ 124938 w 6069600"/>
              <a:gd name="connsiteY6" fmla="*/ 749612 h 749612"/>
              <a:gd name="connsiteX7" fmla="*/ 0 w 6069600"/>
              <a:gd name="connsiteY7" fmla="*/ 624674 h 749612"/>
              <a:gd name="connsiteX8" fmla="*/ 0 w 6069600"/>
              <a:gd name="connsiteY8" fmla="*/ 124938 h 749612"/>
              <a:gd name="connsiteX0" fmla="*/ 0 w 6069600"/>
              <a:gd name="connsiteY0" fmla="*/ 624674 h 749612"/>
              <a:gd name="connsiteX1" fmla="*/ 124938 w 6069600"/>
              <a:gd name="connsiteY1" fmla="*/ 0 h 749612"/>
              <a:gd name="connsiteX2" fmla="*/ 5944662 w 6069600"/>
              <a:gd name="connsiteY2" fmla="*/ 0 h 749612"/>
              <a:gd name="connsiteX3" fmla="*/ 6069600 w 6069600"/>
              <a:gd name="connsiteY3" fmla="*/ 124938 h 749612"/>
              <a:gd name="connsiteX4" fmla="*/ 6069600 w 6069600"/>
              <a:gd name="connsiteY4" fmla="*/ 624674 h 749612"/>
              <a:gd name="connsiteX5" fmla="*/ 5944662 w 6069600"/>
              <a:gd name="connsiteY5" fmla="*/ 749612 h 749612"/>
              <a:gd name="connsiteX6" fmla="*/ 124938 w 6069600"/>
              <a:gd name="connsiteY6" fmla="*/ 749612 h 749612"/>
              <a:gd name="connsiteX7" fmla="*/ 0 w 6069600"/>
              <a:gd name="connsiteY7" fmla="*/ 624674 h 749612"/>
              <a:gd name="connsiteX0" fmla="*/ 1268 w 6070868"/>
              <a:gd name="connsiteY0" fmla="*/ 624674 h 749612"/>
              <a:gd name="connsiteX1" fmla="*/ 0 w 6070868"/>
              <a:gd name="connsiteY1" fmla="*/ 0 h 749612"/>
              <a:gd name="connsiteX2" fmla="*/ 5945930 w 6070868"/>
              <a:gd name="connsiteY2" fmla="*/ 0 h 749612"/>
              <a:gd name="connsiteX3" fmla="*/ 6070868 w 6070868"/>
              <a:gd name="connsiteY3" fmla="*/ 124938 h 749612"/>
              <a:gd name="connsiteX4" fmla="*/ 6070868 w 6070868"/>
              <a:gd name="connsiteY4" fmla="*/ 624674 h 749612"/>
              <a:gd name="connsiteX5" fmla="*/ 5945930 w 6070868"/>
              <a:gd name="connsiteY5" fmla="*/ 749612 h 749612"/>
              <a:gd name="connsiteX6" fmla="*/ 126206 w 6070868"/>
              <a:gd name="connsiteY6" fmla="*/ 749612 h 749612"/>
              <a:gd name="connsiteX7" fmla="*/ 1268 w 6070868"/>
              <a:gd name="connsiteY7" fmla="*/ 624674 h 749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0868" h="749612">
                <a:moveTo>
                  <a:pt x="1268" y="624674"/>
                </a:moveTo>
                <a:cubicBezTo>
                  <a:pt x="845" y="416449"/>
                  <a:pt x="423" y="208225"/>
                  <a:pt x="0" y="0"/>
                </a:cubicBezTo>
                <a:lnTo>
                  <a:pt x="5945930" y="0"/>
                </a:lnTo>
                <a:cubicBezTo>
                  <a:pt x="6014931" y="0"/>
                  <a:pt x="6070868" y="55937"/>
                  <a:pt x="6070868" y="124938"/>
                </a:cubicBezTo>
                <a:lnTo>
                  <a:pt x="6070868" y="624674"/>
                </a:lnTo>
                <a:cubicBezTo>
                  <a:pt x="6070868" y="693675"/>
                  <a:pt x="6014931" y="749612"/>
                  <a:pt x="5945930" y="749612"/>
                </a:cubicBezTo>
                <a:lnTo>
                  <a:pt x="126206" y="749612"/>
                </a:lnTo>
                <a:cubicBezTo>
                  <a:pt x="57205" y="749612"/>
                  <a:pt x="1268" y="693675"/>
                  <a:pt x="1268" y="62467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nl-NL" b="1" i="0" baseline="0" dirty="0" smtClean="0">
              <a:solidFill>
                <a:schemeClr val="accent2">
                  <a:lumMod val="60000"/>
                  <a:lumOff val="40000"/>
                </a:schemeClr>
              </a:solidFill>
              <a:latin typeface="Verdana" pitchFamily="34" charset="0"/>
            </a:endParaRP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 bwMode="black">
          <a:xfrm>
            <a:off x="1069200" y="2155524"/>
            <a:ext cx="4680000" cy="180000"/>
          </a:xfrm>
        </p:spPr>
        <p:txBody>
          <a:bodyPr/>
          <a:lstStyle>
            <a:lvl1pPr algn="l">
              <a:defRPr sz="1400" b="0" i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Datum</a:t>
            </a:r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 bwMode="black">
          <a:xfrm>
            <a:off x="1069200" y="2407524"/>
            <a:ext cx="4680000" cy="180000"/>
          </a:xfrm>
        </p:spPr>
        <p:txBody>
          <a:bodyPr/>
          <a:lstStyle>
            <a:lvl1pPr algn="l">
              <a:defRPr sz="1400" b="0" i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Titel van de presentatie</a:t>
            </a:r>
            <a:endParaRPr lang="nl-NL" dirty="0"/>
          </a:p>
        </p:txBody>
      </p:sp>
      <p:sp>
        <p:nvSpPr>
          <p:cNvPr id="18" name="Tijdelijke aanduiding voor dianummer 5"/>
          <p:cNvSpPr>
            <a:spLocks noGrp="1"/>
          </p:cNvSpPr>
          <p:nvPr>
            <p:ph type="sldNum" sz="quarter" idx="4"/>
          </p:nvPr>
        </p:nvSpPr>
        <p:spPr bwMode="black">
          <a:xfrm>
            <a:off x="8096400" y="4608000"/>
            <a:ext cx="5436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0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2236286-4DC8-46DE-9269-8F728FBC0641}" type="slidenum">
              <a:rPr lang="nl-NL" smtClean="0"/>
              <a:pPr/>
              <a:t>‹Nº›</a:t>
            </a:fld>
            <a:endParaRPr lang="nl-NL" dirty="0"/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6" hasCustomPrompt="1"/>
          </p:nvPr>
        </p:nvSpPr>
        <p:spPr bwMode="white">
          <a:xfrm>
            <a:off x="1069200" y="1039074"/>
            <a:ext cx="4680000" cy="10260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 marL="174625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2pPr>
            <a:lvl3pPr marL="363538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3pPr>
            <a:lvl4pPr marL="538163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4pPr>
            <a:lvl5pPr marL="712787" indent="0">
              <a:lnSpc>
                <a:spcPct val="110000"/>
              </a:lnSpc>
              <a:spcAft>
                <a:spcPts val="1000"/>
              </a:spcAft>
              <a:buClrTx/>
              <a:buFontTx/>
              <a:buNone/>
              <a:defRPr sz="4400">
                <a:solidFill>
                  <a:schemeClr val="accent6"/>
                </a:solidFill>
              </a:defRPr>
            </a:lvl5pPr>
          </a:lstStyle>
          <a:p>
            <a:pPr lvl="0"/>
            <a:r>
              <a:rPr lang="nl-NL" dirty="0" smtClean="0"/>
              <a:t>Hoofdstuk titel</a:t>
            </a:r>
          </a:p>
        </p:txBody>
      </p:sp>
      <p:grpSp>
        <p:nvGrpSpPr>
          <p:cNvPr id="25" name="Groep 15"/>
          <p:cNvGrpSpPr/>
          <p:nvPr userDrawn="1"/>
        </p:nvGrpSpPr>
        <p:grpSpPr>
          <a:xfrm>
            <a:off x="6705600" y="129539"/>
            <a:ext cx="2133600" cy="1054327"/>
            <a:chOff x="6705600" y="361950"/>
            <a:chExt cx="2133600" cy="1054327"/>
          </a:xfrm>
        </p:grpSpPr>
        <p:pic>
          <p:nvPicPr>
            <p:cNvPr id="26" name="Afbeelding 1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767" t="17659" r="11146" b="19141"/>
            <a:stretch>
              <a:fillRect/>
            </a:stretch>
          </p:blipFill>
          <p:spPr>
            <a:xfrm>
              <a:off x="6858000" y="361950"/>
              <a:ext cx="1981200" cy="973284"/>
            </a:xfrm>
            <a:prstGeom prst="rect">
              <a:avLst/>
            </a:prstGeom>
          </p:spPr>
        </p:pic>
        <p:pic>
          <p:nvPicPr>
            <p:cNvPr id="27" name="Afbeelding 1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21" t="22034" r="11146" b="13782"/>
            <a:stretch>
              <a:fillRect/>
            </a:stretch>
          </p:blipFill>
          <p:spPr bwMode="hidden">
            <a:xfrm>
              <a:off x="6705600" y="361950"/>
              <a:ext cx="2133600" cy="10543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7615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 met opsomtekens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Datum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º›</a:t>
            </a:fld>
            <a:endParaRPr lang="nl-NL" dirty="0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536400" y="972000"/>
            <a:ext cx="7560000" cy="3420000"/>
          </a:xfrm>
        </p:spPr>
        <p:txBody>
          <a:bodyPr lIns="0" tIns="0" rIns="0" bIns="0">
            <a:noAutofit/>
          </a:bodyPr>
          <a:lstStyle>
            <a:lvl1pPr marL="174625" indent="-174625">
              <a:lnSpc>
                <a:spcPct val="110000"/>
              </a:lnSpc>
              <a:spcAft>
                <a:spcPts val="1000"/>
              </a:spcAft>
              <a:buClrTx/>
              <a:buFont typeface="Arial" pitchFamily="34" charset="0"/>
              <a:buChar char="•"/>
              <a:defRPr/>
            </a:lvl1pPr>
            <a:lvl2pPr marL="363538" indent="-188913">
              <a:lnSpc>
                <a:spcPct val="110000"/>
              </a:lnSpc>
              <a:spcAft>
                <a:spcPts val="1000"/>
              </a:spcAft>
              <a:buClrTx/>
              <a:buFont typeface="Arial" pitchFamily="34" charset="0"/>
              <a:buChar char="-"/>
              <a:defRPr/>
            </a:lvl2pPr>
            <a:lvl3pPr marL="538163" indent="-174625">
              <a:lnSpc>
                <a:spcPct val="110000"/>
              </a:lnSpc>
              <a:spcAft>
                <a:spcPts val="1000"/>
              </a:spcAft>
              <a:buClrTx/>
              <a:buFont typeface="Arial" pitchFamily="34" charset="0"/>
              <a:buChar char="-"/>
              <a:defRPr/>
            </a:lvl3pPr>
            <a:lvl4pPr marL="712788" indent="-174625">
              <a:lnSpc>
                <a:spcPct val="110000"/>
              </a:lnSpc>
              <a:spcAft>
                <a:spcPts val="1000"/>
              </a:spcAft>
              <a:buClrTx/>
              <a:buFont typeface="Arial" pitchFamily="34" charset="0"/>
              <a:buChar char="-"/>
              <a:defRPr/>
            </a:lvl4pPr>
            <a:lvl5pPr marL="901700" indent="-188913">
              <a:lnSpc>
                <a:spcPct val="110000"/>
              </a:lnSpc>
              <a:spcAft>
                <a:spcPts val="1000"/>
              </a:spcAft>
              <a:buClrTx/>
              <a:buFont typeface="Arial" pitchFamily="34" charset="0"/>
              <a:buChar char="-"/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08977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 zonder opsomtekens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Datum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º›</a:t>
            </a:fld>
            <a:endParaRPr lang="nl-NL" dirty="0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536400" y="972000"/>
            <a:ext cx="7560000" cy="3420000"/>
          </a:xfr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spcAft>
                <a:spcPts val="1000"/>
              </a:spcAft>
              <a:defRPr/>
            </a:lvl1pPr>
            <a:lvl2pPr>
              <a:lnSpc>
                <a:spcPct val="110000"/>
              </a:lnSpc>
              <a:spcAft>
                <a:spcPts val="1000"/>
              </a:spcAft>
              <a:defRPr/>
            </a:lvl2pPr>
            <a:lvl3pPr>
              <a:lnSpc>
                <a:spcPct val="110000"/>
              </a:lnSpc>
              <a:spcAft>
                <a:spcPts val="1000"/>
              </a:spcAft>
              <a:defRPr/>
            </a:lvl3pPr>
            <a:lvl4pPr>
              <a:lnSpc>
                <a:spcPct val="110000"/>
              </a:lnSpc>
              <a:spcAft>
                <a:spcPts val="1000"/>
              </a:spcAft>
              <a:defRPr/>
            </a:lvl4pPr>
            <a:lvl5pPr>
              <a:lnSpc>
                <a:spcPct val="110000"/>
              </a:lnSpc>
              <a:spcAft>
                <a:spcPts val="1000"/>
              </a:spcAft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09433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gende afbeelding met teks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Datum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º›</a:t>
            </a:fld>
            <a:endParaRPr lang="nl-NL" dirty="0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4824028" y="972000"/>
            <a:ext cx="3272372" cy="2106000"/>
          </a:xfr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spcAft>
                <a:spcPts val="1000"/>
              </a:spcAft>
              <a:defRPr/>
            </a:lvl1pPr>
            <a:lvl2pPr>
              <a:lnSpc>
                <a:spcPct val="110000"/>
              </a:lnSpc>
              <a:spcAft>
                <a:spcPts val="1000"/>
              </a:spcAft>
              <a:defRPr/>
            </a:lvl2pPr>
            <a:lvl3pPr>
              <a:lnSpc>
                <a:spcPct val="110000"/>
              </a:lnSpc>
              <a:spcAft>
                <a:spcPts val="1000"/>
              </a:spcAft>
              <a:defRPr/>
            </a:lvl3pPr>
            <a:lvl4pPr>
              <a:lnSpc>
                <a:spcPct val="110000"/>
              </a:lnSpc>
              <a:spcAft>
                <a:spcPts val="1000"/>
              </a:spcAft>
              <a:defRPr/>
            </a:lvl4pPr>
            <a:lvl5pPr>
              <a:lnSpc>
                <a:spcPct val="110000"/>
              </a:lnSpc>
              <a:spcAft>
                <a:spcPts val="1000"/>
              </a:spcAft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</p:txBody>
      </p:sp>
      <p:sp>
        <p:nvSpPr>
          <p:cNvPr id="9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536400" y="972000"/>
            <a:ext cx="4107600" cy="2106000"/>
          </a:xfrm>
        </p:spPr>
        <p:txBody>
          <a:bodyPr/>
          <a:lstStyle>
            <a:lvl1pPr marL="0" indent="0">
              <a:buNone/>
              <a:defRPr sz="19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 smtClean="0"/>
              <a:t>Klik op het pictogram als u een afbeelding wilt toevoegen</a:t>
            </a:r>
            <a:endParaRPr lang="nl-NL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4" hasCustomPrompt="1"/>
          </p:nvPr>
        </p:nvSpPr>
        <p:spPr>
          <a:xfrm>
            <a:off x="536400" y="3240150"/>
            <a:ext cx="7560000" cy="1236600"/>
          </a:xfr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spcAft>
                <a:spcPts val="1000"/>
              </a:spcAft>
              <a:defRPr/>
            </a:lvl1pPr>
            <a:lvl2pPr>
              <a:lnSpc>
                <a:spcPct val="110000"/>
              </a:lnSpc>
              <a:spcAft>
                <a:spcPts val="1000"/>
              </a:spcAft>
              <a:defRPr/>
            </a:lvl2pPr>
            <a:lvl3pPr>
              <a:lnSpc>
                <a:spcPct val="110000"/>
              </a:lnSpc>
              <a:spcAft>
                <a:spcPts val="1000"/>
              </a:spcAft>
              <a:defRPr/>
            </a:lvl3pPr>
            <a:lvl4pPr>
              <a:lnSpc>
                <a:spcPct val="110000"/>
              </a:lnSpc>
              <a:spcAft>
                <a:spcPts val="1000"/>
              </a:spcAft>
              <a:defRPr/>
            </a:lvl4pPr>
            <a:lvl5pPr>
              <a:lnSpc>
                <a:spcPct val="110000"/>
              </a:lnSpc>
              <a:spcAft>
                <a:spcPts val="1000"/>
              </a:spcAft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</p:txBody>
      </p:sp>
    </p:spTree>
    <p:extLst>
      <p:ext uri="{BB962C8B-B14F-4D97-AF65-F5344CB8AC3E}">
        <p14:creationId xmlns:p14="http://schemas.microsoft.com/office/powerpoint/2010/main" val="30265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ande afbeelding met teks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smtClean="0"/>
              <a:t>Datum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Titel van de presentatie</a:t>
            </a: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‹Nº›</a:t>
            </a:fld>
            <a:endParaRPr lang="nl-NL" dirty="0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4406400" y="972000"/>
            <a:ext cx="3690000" cy="3510000"/>
          </a:xfrm>
        </p:spPr>
        <p:txBody>
          <a:bodyPr lIns="0" tIns="0" rIns="0" bIns="0">
            <a:noAutofit/>
          </a:bodyPr>
          <a:lstStyle>
            <a:lvl1pPr>
              <a:lnSpc>
                <a:spcPct val="110000"/>
              </a:lnSpc>
              <a:spcAft>
                <a:spcPts val="1000"/>
              </a:spcAft>
              <a:defRPr/>
            </a:lvl1pPr>
            <a:lvl2pPr>
              <a:lnSpc>
                <a:spcPct val="110000"/>
              </a:lnSpc>
              <a:spcAft>
                <a:spcPts val="1000"/>
              </a:spcAft>
              <a:defRPr/>
            </a:lvl2pPr>
            <a:lvl3pPr>
              <a:lnSpc>
                <a:spcPct val="110000"/>
              </a:lnSpc>
              <a:spcAft>
                <a:spcPts val="1000"/>
              </a:spcAft>
              <a:defRPr/>
            </a:lvl3pPr>
            <a:lvl4pPr>
              <a:lnSpc>
                <a:spcPct val="110000"/>
              </a:lnSpc>
              <a:spcAft>
                <a:spcPts val="1000"/>
              </a:spcAft>
              <a:defRPr/>
            </a:lvl4pPr>
            <a:lvl5pPr>
              <a:lnSpc>
                <a:spcPct val="110000"/>
              </a:lnSpc>
              <a:spcAft>
                <a:spcPts val="1000"/>
              </a:spcAft>
              <a:defRPr/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</p:txBody>
      </p:sp>
      <p:sp>
        <p:nvSpPr>
          <p:cNvPr id="9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536400" y="972000"/>
            <a:ext cx="3690000" cy="3456000"/>
          </a:xfrm>
        </p:spPr>
        <p:txBody>
          <a:bodyPr/>
          <a:lstStyle>
            <a:lvl1pPr marL="0" indent="0">
              <a:buNone/>
              <a:defRPr sz="19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dirty="0" smtClean="0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80877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74136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ep 9"/>
          <p:cNvGrpSpPr/>
          <p:nvPr/>
        </p:nvGrpSpPr>
        <p:grpSpPr>
          <a:xfrm>
            <a:off x="7498800" y="126769"/>
            <a:ext cx="1374161" cy="821337"/>
            <a:chOff x="6397200" y="0"/>
            <a:chExt cx="2748321" cy="1642674"/>
          </a:xfrm>
        </p:grpSpPr>
        <p:pic>
          <p:nvPicPr>
            <p:cNvPr id="18" name="Afbeelding 10"/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7200" y="90000"/>
              <a:ext cx="2748321" cy="1540007"/>
            </a:xfrm>
            <a:prstGeom prst="rect">
              <a:avLst/>
            </a:prstGeom>
          </p:spPr>
        </p:pic>
        <p:pic>
          <p:nvPicPr>
            <p:cNvPr id="19" name="Afbeelding 11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6397200" y="0"/>
              <a:ext cx="2748321" cy="1642674"/>
            </a:xfrm>
            <a:prstGeom prst="rect">
              <a:avLst/>
            </a:prstGeom>
          </p:spPr>
        </p:pic>
      </p:grp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35676" y="396000"/>
            <a:ext cx="6660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 bwMode="black">
          <a:xfrm>
            <a:off x="536400" y="4608000"/>
            <a:ext cx="756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0" i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smtClean="0"/>
              <a:t>Datum</a:t>
            </a:r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 bwMode="black">
          <a:xfrm>
            <a:off x="536400" y="4770000"/>
            <a:ext cx="756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b="0" i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Titel van de presentatie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 bwMode="black">
          <a:xfrm>
            <a:off x="8096400" y="4608000"/>
            <a:ext cx="5436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0" i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2236286-4DC8-46DE-9269-8F728FBC0641}" type="slidenum">
              <a:rPr lang="nl-NL" smtClean="0"/>
              <a:pPr/>
              <a:t>‹Nº›</a:t>
            </a:fld>
            <a:endParaRPr lang="nl-NL" dirty="0"/>
          </a:p>
        </p:txBody>
      </p:sp>
      <p:sp>
        <p:nvSpPr>
          <p:cNvPr id="16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36400" y="972000"/>
            <a:ext cx="7560000" cy="34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7433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81" r:id="rId2"/>
    <p:sldLayoutId id="2147483682" r:id="rId3"/>
    <p:sldLayoutId id="2147483683" r:id="rId4"/>
    <p:sldLayoutId id="2147483684" r:id="rId5"/>
    <p:sldLayoutId id="2147483685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3200" b="0" i="0" kern="1200" baseline="0">
          <a:solidFill>
            <a:schemeClr val="accent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0"/>
        </a:spcBef>
        <a:buClr>
          <a:schemeClr val="accent4"/>
        </a:buClr>
        <a:buSzPct val="100000"/>
        <a:buFontTx/>
        <a:buNone/>
        <a:defRPr sz="1800" b="0" i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5738" indent="0" algn="l" defTabSz="914400" rtl="0" eaLnBrk="1" latinLnBrk="0" hangingPunct="1">
        <a:lnSpc>
          <a:spcPts val="2200"/>
        </a:lnSpc>
        <a:spcBef>
          <a:spcPts val="0"/>
        </a:spcBef>
        <a:buClr>
          <a:schemeClr val="accent4"/>
        </a:buClr>
        <a:buSzPct val="100000"/>
        <a:buFontTx/>
        <a:buNone/>
        <a:defRPr sz="1400" b="0" i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7187" indent="0" algn="l" defTabSz="914400" rtl="0" eaLnBrk="1" latinLnBrk="0" hangingPunct="1">
        <a:lnSpc>
          <a:spcPts val="2200"/>
        </a:lnSpc>
        <a:spcBef>
          <a:spcPts val="0"/>
        </a:spcBef>
        <a:buClr>
          <a:schemeClr val="accent4"/>
        </a:buClr>
        <a:buSzPct val="100000"/>
        <a:buFontTx/>
        <a:buNone/>
        <a:defRPr sz="1400" b="0" i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2925" indent="0" algn="l" defTabSz="914400" rtl="0" eaLnBrk="1" latinLnBrk="0" hangingPunct="1">
        <a:lnSpc>
          <a:spcPts val="2200"/>
        </a:lnSpc>
        <a:spcBef>
          <a:spcPts val="0"/>
        </a:spcBef>
        <a:buClr>
          <a:schemeClr val="accent4"/>
        </a:buClr>
        <a:buSzPct val="100000"/>
        <a:buFontTx/>
        <a:buNone/>
        <a:defRPr sz="1400" b="0" i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5962" indent="0" algn="l" defTabSz="914400" rtl="0" eaLnBrk="1" latinLnBrk="0" hangingPunct="1">
        <a:lnSpc>
          <a:spcPts val="2200"/>
        </a:lnSpc>
        <a:spcBef>
          <a:spcPts val="0"/>
        </a:spcBef>
        <a:buClr>
          <a:schemeClr val="accent4"/>
        </a:buClr>
        <a:buSzPct val="100000"/>
        <a:buFontTx/>
        <a:buNone/>
        <a:defRPr sz="1400" b="0" i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microsoft.com/office/2007/relationships/hdphoto" Target="../media/hdphoto1.wdp"/><Relationship Id="rId9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 err="1" smtClean="0"/>
              <a:t>By</a:t>
            </a:r>
            <a:r>
              <a:rPr lang="nl-NL" dirty="0" smtClean="0"/>
              <a:t> Bart Janssen, managing </a:t>
            </a:r>
            <a:r>
              <a:rPr lang="nl-NL" dirty="0" err="1" smtClean="0"/>
              <a:t>HelloData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15" name="Content Placeholder 14"/>
          <p:cNvSpPr>
            <a:spLocks noGrp="1"/>
          </p:cNvSpPr>
          <p:nvPr>
            <p:ph idx="16"/>
          </p:nvPr>
        </p:nvSpPr>
        <p:spPr>
          <a:xfrm>
            <a:off x="1187624" y="1058418"/>
            <a:ext cx="5400000" cy="1026000"/>
          </a:xfrm>
        </p:spPr>
        <p:txBody>
          <a:bodyPr>
            <a:normAutofit fontScale="92500"/>
          </a:bodyPr>
          <a:lstStyle/>
          <a:p>
            <a:r>
              <a:rPr lang="nl-NL" dirty="0"/>
              <a:t>C</a:t>
            </a:r>
            <a:r>
              <a:rPr lang="nl-NL" dirty="0" smtClean="0"/>
              <a:t>onsumer in Contro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76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olution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10</a:t>
            </a:fld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Implementation</a:t>
            </a:r>
            <a:r>
              <a:rPr lang="nl-NL" dirty="0" smtClean="0"/>
              <a:t> GDPR energy sector</a:t>
            </a:r>
          </a:p>
          <a:p>
            <a:pPr lvl="1"/>
            <a:r>
              <a:rPr lang="nl-NL" dirty="0" err="1" smtClean="0"/>
              <a:t>Authorizing</a:t>
            </a:r>
            <a:r>
              <a:rPr lang="nl-NL" dirty="0" smtClean="0"/>
              <a:t> energy data</a:t>
            </a:r>
          </a:p>
          <a:p>
            <a:pPr lvl="1"/>
            <a:r>
              <a:rPr lang="nl-NL" dirty="0" err="1" smtClean="0"/>
              <a:t>Identification</a:t>
            </a:r>
            <a:endParaRPr lang="nl-NL" dirty="0" smtClean="0"/>
          </a:p>
          <a:p>
            <a:pPr lvl="1"/>
            <a:r>
              <a:rPr lang="nl-NL" dirty="0" smtClean="0"/>
              <a:t>Data </a:t>
            </a:r>
            <a:r>
              <a:rPr lang="nl-NL" dirty="0" err="1" smtClean="0"/>
              <a:t>portability</a:t>
            </a:r>
            <a:r>
              <a:rPr lang="nl-NL" dirty="0" smtClean="0"/>
              <a:t> </a:t>
            </a:r>
          </a:p>
          <a:p>
            <a:pPr lvl="1"/>
            <a:r>
              <a:rPr lang="nl-NL" dirty="0" smtClean="0"/>
              <a:t>Right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forgotten</a:t>
            </a:r>
            <a:endParaRPr lang="nl-NL" dirty="0" smtClean="0"/>
          </a:p>
          <a:p>
            <a:r>
              <a:rPr lang="nl-NL" dirty="0" smtClean="0"/>
              <a:t>Level </a:t>
            </a:r>
            <a:r>
              <a:rPr lang="nl-NL" dirty="0" err="1" smtClean="0"/>
              <a:t>playing</a:t>
            </a:r>
            <a:r>
              <a:rPr lang="nl-NL" dirty="0" smtClean="0"/>
              <a:t> field</a:t>
            </a:r>
          </a:p>
          <a:p>
            <a:pPr lvl="1"/>
            <a:r>
              <a:rPr lang="nl-NL" dirty="0" err="1" smtClean="0"/>
              <a:t>Standardiz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52555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Positive</a:t>
            </a:r>
            <a:r>
              <a:rPr lang="nl-NL" dirty="0" smtClean="0"/>
              <a:t> </a:t>
            </a:r>
            <a:r>
              <a:rPr lang="nl-NL" dirty="0" err="1" smtClean="0"/>
              <a:t>key</a:t>
            </a:r>
            <a:r>
              <a:rPr lang="nl-NL" dirty="0" smtClean="0"/>
              <a:t> </a:t>
            </a:r>
            <a:r>
              <a:rPr lang="nl-NL" dirty="0" err="1" smtClean="0"/>
              <a:t>learning</a:t>
            </a:r>
            <a:r>
              <a:rPr lang="nl-NL" dirty="0" smtClean="0"/>
              <a:t> </a:t>
            </a:r>
            <a:r>
              <a:rPr lang="nl-NL" dirty="0" err="1" smtClean="0"/>
              <a:t>aspects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11</a:t>
            </a:fld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Independent </a:t>
            </a:r>
            <a:r>
              <a:rPr lang="nl-NL" dirty="0" err="1" smtClean="0"/>
              <a:t>role</a:t>
            </a:r>
            <a:r>
              <a:rPr lang="nl-NL" dirty="0" smtClean="0"/>
              <a:t> (NGO)</a:t>
            </a:r>
          </a:p>
          <a:p>
            <a:r>
              <a:rPr lang="nl-NL" dirty="0" err="1" smtClean="0"/>
              <a:t>Anonymous</a:t>
            </a:r>
            <a:r>
              <a:rPr lang="nl-NL" dirty="0" smtClean="0"/>
              <a:t> users</a:t>
            </a:r>
          </a:p>
          <a:p>
            <a:r>
              <a:rPr lang="nl-NL" dirty="0" smtClean="0"/>
              <a:t>Open source </a:t>
            </a:r>
            <a:r>
              <a:rPr lang="nl-NL" dirty="0" err="1" smtClean="0"/>
              <a:t>potential</a:t>
            </a:r>
            <a:endParaRPr lang="nl-NL" dirty="0" smtClean="0"/>
          </a:p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2971399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Difficult</a:t>
            </a:r>
            <a:r>
              <a:rPr lang="nl-NL" dirty="0" smtClean="0"/>
              <a:t>/</a:t>
            </a:r>
            <a:r>
              <a:rPr lang="nl-NL" dirty="0" err="1" smtClean="0"/>
              <a:t>unexpected</a:t>
            </a:r>
            <a:r>
              <a:rPr lang="nl-NL" dirty="0" smtClean="0"/>
              <a:t> issues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12</a:t>
            </a:fld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Technical issues </a:t>
            </a:r>
          </a:p>
          <a:p>
            <a:r>
              <a:rPr lang="nl-NL" dirty="0" smtClean="0"/>
              <a:t>Complex market</a:t>
            </a:r>
          </a:p>
          <a:p>
            <a:r>
              <a:rPr lang="nl-NL" dirty="0" smtClean="0"/>
              <a:t>Development team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94663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13</a:t>
            </a:fld>
            <a:endParaRPr lang="nl-NL" dirty="0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r>
              <a:rPr lang="nl-NL" dirty="0" smtClean="0"/>
              <a:t>Q&amp;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4500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martwatch (sensor)</a:t>
            </a:r>
            <a:endParaRPr lang="nl-NL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 smtClean="0"/>
              <a:t>Consumer in Control ETIP SNET workshop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2</a:t>
            </a:fld>
            <a:endParaRPr lang="nl-NL" dirty="0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GPS tracking</a:t>
            </a:r>
          </a:p>
          <a:p>
            <a:r>
              <a:rPr lang="nl-NL" dirty="0" smtClean="0"/>
              <a:t>Built-in </a:t>
            </a:r>
            <a:r>
              <a:rPr lang="nl-NL" dirty="0" err="1" smtClean="0"/>
              <a:t>heart</a:t>
            </a:r>
            <a:r>
              <a:rPr lang="nl-NL" dirty="0" smtClean="0"/>
              <a:t> </a:t>
            </a:r>
            <a:r>
              <a:rPr lang="nl-NL" dirty="0" err="1" smtClean="0"/>
              <a:t>rate</a:t>
            </a:r>
            <a:r>
              <a:rPr lang="nl-NL" dirty="0" smtClean="0"/>
              <a:t> monitor</a:t>
            </a:r>
          </a:p>
          <a:p>
            <a:r>
              <a:rPr lang="nl-NL" dirty="0" smtClean="0"/>
              <a:t>Sleep</a:t>
            </a:r>
          </a:p>
          <a:p>
            <a:r>
              <a:rPr lang="nl-NL" dirty="0" err="1" smtClean="0"/>
              <a:t>Distance</a:t>
            </a:r>
            <a:endParaRPr lang="nl-NL" dirty="0" smtClean="0"/>
          </a:p>
          <a:p>
            <a:r>
              <a:rPr lang="nl-NL" dirty="0" smtClean="0"/>
              <a:t>Steps</a:t>
            </a:r>
          </a:p>
          <a:p>
            <a:r>
              <a:rPr lang="nl-NL" dirty="0" smtClean="0"/>
              <a:t>Calorie </a:t>
            </a:r>
            <a:r>
              <a:rPr lang="nl-NL" dirty="0" err="1" smtClean="0"/>
              <a:t>burn</a:t>
            </a:r>
            <a:endParaRPr lang="nl-NL" dirty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4" y="1275606"/>
            <a:ext cx="2316480" cy="2316480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344" y="1995691"/>
            <a:ext cx="876310" cy="876310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0654" y="1788600"/>
            <a:ext cx="1290492" cy="1290492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899" y="1378643"/>
            <a:ext cx="819914" cy="819914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899" y="1932631"/>
            <a:ext cx="819914" cy="819914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899" y="2462044"/>
            <a:ext cx="819914" cy="819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885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8" y="1712009"/>
            <a:ext cx="4764574" cy="305799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mart meter (sensor)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/>
              <a:t>09.19.2017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</a:t>
            </a:r>
            <a:r>
              <a:rPr lang="nl-NL" dirty="0" smtClean="0"/>
              <a:t>SNET workshop</a:t>
            </a: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3</a:t>
            </a:fld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Power</a:t>
            </a:r>
          </a:p>
          <a:p>
            <a:r>
              <a:rPr lang="nl-NL" dirty="0" smtClean="0"/>
              <a:t>Time </a:t>
            </a:r>
            <a:r>
              <a:rPr lang="nl-NL" dirty="0" err="1" smtClean="0"/>
              <a:t>stamps</a:t>
            </a:r>
            <a:r>
              <a:rPr lang="nl-NL" dirty="0" smtClean="0"/>
              <a:t> (10 </a:t>
            </a:r>
            <a:r>
              <a:rPr lang="nl-NL" dirty="0" err="1" smtClean="0"/>
              <a:t>seconds</a:t>
            </a:r>
            <a:r>
              <a:rPr lang="nl-NL" dirty="0" smtClean="0"/>
              <a:t>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9726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rrent</a:t>
            </a:r>
            <a:r>
              <a:rPr lang="nl-NL" dirty="0" smtClean="0"/>
              <a:t> </a:t>
            </a:r>
            <a:r>
              <a:rPr lang="nl-NL" dirty="0" err="1" smtClean="0"/>
              <a:t>situation</a:t>
            </a:r>
            <a:r>
              <a:rPr lang="nl-NL" dirty="0" smtClean="0"/>
              <a:t> (NL)</a:t>
            </a:r>
            <a:endParaRPr lang="nl-NL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-2017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4</a:t>
            </a:fld>
            <a:endParaRPr lang="nl-NL" dirty="0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Roll</a:t>
            </a:r>
            <a:r>
              <a:rPr lang="nl-NL" dirty="0" smtClean="0"/>
              <a:t> out up </a:t>
            </a:r>
            <a:r>
              <a:rPr lang="nl-NL" dirty="0" err="1" smtClean="0"/>
              <a:t>till</a:t>
            </a:r>
            <a:r>
              <a:rPr lang="nl-NL" dirty="0" smtClean="0"/>
              <a:t> </a:t>
            </a:r>
            <a:r>
              <a:rPr lang="nl-NL" dirty="0" err="1" smtClean="0"/>
              <a:t>now</a:t>
            </a:r>
            <a:r>
              <a:rPr lang="nl-NL" dirty="0" smtClean="0"/>
              <a:t>: more </a:t>
            </a:r>
            <a:r>
              <a:rPr lang="nl-NL" dirty="0" err="1" smtClean="0"/>
              <a:t>than</a:t>
            </a:r>
            <a:r>
              <a:rPr lang="nl-NL" dirty="0" smtClean="0"/>
              <a:t> 7 </a:t>
            </a:r>
            <a:r>
              <a:rPr lang="nl-NL" dirty="0" err="1" smtClean="0"/>
              <a:t>million</a:t>
            </a:r>
            <a:r>
              <a:rPr lang="nl-NL" dirty="0" smtClean="0"/>
              <a:t> smart meters</a:t>
            </a:r>
          </a:p>
          <a:p>
            <a:r>
              <a:rPr lang="nl-NL" dirty="0" err="1" smtClean="0"/>
              <a:t>Roll</a:t>
            </a:r>
            <a:r>
              <a:rPr lang="nl-NL" dirty="0" smtClean="0"/>
              <a:t> out does </a:t>
            </a:r>
            <a:r>
              <a:rPr lang="nl-NL" dirty="0" err="1" smtClean="0"/>
              <a:t>not</a:t>
            </a:r>
            <a:r>
              <a:rPr lang="nl-NL" dirty="0" smtClean="0"/>
              <a:t> match </a:t>
            </a:r>
            <a:r>
              <a:rPr lang="nl-NL" dirty="0" err="1" smtClean="0"/>
              <a:t>the</a:t>
            </a:r>
            <a:r>
              <a:rPr lang="nl-NL" dirty="0" smtClean="0"/>
              <a:t> </a:t>
            </a:r>
            <a:r>
              <a:rPr lang="nl-NL" dirty="0" err="1" smtClean="0"/>
              <a:t>expected</a:t>
            </a:r>
            <a:r>
              <a:rPr lang="nl-NL" dirty="0" smtClean="0"/>
              <a:t> energy </a:t>
            </a:r>
            <a:r>
              <a:rPr lang="nl-NL" dirty="0" err="1" smtClean="0"/>
              <a:t>saving</a:t>
            </a:r>
            <a:endParaRPr lang="nl-NL" dirty="0" smtClean="0"/>
          </a:p>
          <a:p>
            <a:r>
              <a:rPr lang="nl-NL" dirty="0" smtClean="0"/>
              <a:t>Consumer is </a:t>
            </a:r>
            <a:r>
              <a:rPr lang="en-US" dirty="0" smtClean="0"/>
              <a:t>clueless</a:t>
            </a:r>
            <a:r>
              <a:rPr lang="nl-NL" dirty="0" smtClean="0"/>
              <a:t> </a:t>
            </a:r>
            <a:r>
              <a:rPr lang="nl-NL" dirty="0" err="1" smtClean="0"/>
              <a:t>what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do </a:t>
            </a:r>
            <a:r>
              <a:rPr lang="nl-NL" dirty="0" err="1" smtClean="0"/>
              <a:t>with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smart meter</a:t>
            </a:r>
          </a:p>
          <a:p>
            <a:r>
              <a:rPr lang="nl-NL" dirty="0" smtClean="0"/>
              <a:t>Low </a:t>
            </a:r>
            <a:r>
              <a:rPr lang="nl-NL" dirty="0" err="1" smtClean="0"/>
              <a:t>number</a:t>
            </a:r>
            <a:r>
              <a:rPr lang="nl-NL" dirty="0" smtClean="0"/>
              <a:t> of energy services </a:t>
            </a:r>
            <a:r>
              <a:rPr lang="nl-NL" dirty="0" err="1" smtClean="0"/>
              <a:t>based</a:t>
            </a:r>
            <a:r>
              <a:rPr lang="nl-NL" dirty="0" smtClean="0"/>
              <a:t> on real time energy data</a:t>
            </a:r>
          </a:p>
          <a:p>
            <a:r>
              <a:rPr lang="nl-NL" dirty="0" err="1" smtClean="0"/>
              <a:t>Vendor</a:t>
            </a:r>
            <a:r>
              <a:rPr lang="nl-NL" dirty="0" smtClean="0"/>
              <a:t> </a:t>
            </a:r>
            <a:r>
              <a:rPr lang="nl-NL" dirty="0" err="1" smtClean="0"/>
              <a:t>lock</a:t>
            </a:r>
            <a:r>
              <a:rPr lang="nl-NL" dirty="0" smtClean="0"/>
              <a:t>-in </a:t>
            </a:r>
            <a:r>
              <a:rPr lang="nl-NL" dirty="0" err="1" smtClean="0"/>
              <a:t>situation</a:t>
            </a:r>
            <a:endParaRPr lang="nl-NL" dirty="0" smtClean="0"/>
          </a:p>
          <a:p>
            <a:r>
              <a:rPr lang="nl-NL" dirty="0" smtClean="0"/>
              <a:t>No level </a:t>
            </a:r>
            <a:r>
              <a:rPr lang="nl-NL" dirty="0" err="1" smtClean="0"/>
              <a:t>playing</a:t>
            </a:r>
            <a:r>
              <a:rPr lang="nl-NL" dirty="0" smtClean="0"/>
              <a:t> field: no access start ups</a:t>
            </a:r>
          </a:p>
          <a:p>
            <a:r>
              <a:rPr lang="nl-NL" dirty="0" err="1" smtClean="0"/>
              <a:t>Implementation</a:t>
            </a:r>
            <a:r>
              <a:rPr lang="nl-NL" dirty="0" smtClean="0"/>
              <a:t> GDPR: energy sector ready?! </a:t>
            </a:r>
          </a:p>
        </p:txBody>
      </p:sp>
    </p:spTree>
    <p:extLst>
      <p:ext uri="{BB962C8B-B14F-4D97-AF65-F5344CB8AC3E}">
        <p14:creationId xmlns:p14="http://schemas.microsoft.com/office/powerpoint/2010/main" val="324763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Current</a:t>
            </a:r>
            <a:r>
              <a:rPr lang="nl-NL" dirty="0" smtClean="0"/>
              <a:t> </a:t>
            </a:r>
            <a:r>
              <a:rPr lang="nl-NL" dirty="0" err="1" smtClean="0"/>
              <a:t>situation</a:t>
            </a:r>
            <a:r>
              <a:rPr lang="nl-NL" dirty="0" smtClean="0"/>
              <a:t> (EU)</a:t>
            </a:r>
            <a:endParaRPr lang="nl-NL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5</a:t>
            </a:fld>
            <a:endParaRPr lang="nl-NL" dirty="0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Implemented</a:t>
            </a:r>
            <a:r>
              <a:rPr lang="nl-NL" dirty="0" smtClean="0"/>
              <a:t> GDPR </a:t>
            </a:r>
            <a:r>
              <a:rPr lang="nl-NL" dirty="0" err="1" smtClean="0"/>
              <a:t>for</a:t>
            </a:r>
            <a:r>
              <a:rPr lang="nl-NL" dirty="0" smtClean="0"/>
              <a:t> member </a:t>
            </a:r>
            <a:r>
              <a:rPr lang="nl-NL" dirty="0" err="1" smtClean="0"/>
              <a:t>states</a:t>
            </a:r>
            <a:endParaRPr lang="nl-NL" dirty="0" smtClean="0"/>
          </a:p>
          <a:p>
            <a:r>
              <a:rPr lang="nl-NL" dirty="0" smtClean="0"/>
              <a:t>Winter package:</a:t>
            </a:r>
          </a:p>
          <a:p>
            <a:pPr lvl="1"/>
            <a:r>
              <a:rPr lang="nl-NL" dirty="0" smtClean="0"/>
              <a:t>Access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consumers</a:t>
            </a:r>
            <a:r>
              <a:rPr lang="nl-NL" dirty="0" smtClean="0"/>
              <a:t> </a:t>
            </a:r>
            <a:r>
              <a:rPr lang="nl-NL" dirty="0" err="1" smtClean="0"/>
              <a:t>to</a:t>
            </a:r>
            <a:r>
              <a:rPr lang="nl-NL" dirty="0" smtClean="0"/>
              <a:t> energy data</a:t>
            </a:r>
          </a:p>
          <a:p>
            <a:pPr lvl="1"/>
            <a:r>
              <a:rPr lang="nl-NL" dirty="0" smtClean="0"/>
              <a:t>Consumer in control: </a:t>
            </a:r>
            <a:r>
              <a:rPr lang="nl-NL" dirty="0" err="1" smtClean="0"/>
              <a:t>who</a:t>
            </a:r>
            <a:r>
              <a:rPr lang="nl-NL" dirty="0" smtClean="0"/>
              <a:t> do </a:t>
            </a:r>
            <a:r>
              <a:rPr lang="nl-NL" dirty="0" err="1" smtClean="0"/>
              <a:t>they</a:t>
            </a:r>
            <a:r>
              <a:rPr lang="nl-NL" dirty="0" smtClean="0"/>
              <a:t> </a:t>
            </a:r>
            <a:r>
              <a:rPr lang="nl-NL" dirty="0" err="1" smtClean="0"/>
              <a:t>give</a:t>
            </a:r>
            <a:r>
              <a:rPr lang="nl-NL" dirty="0" smtClean="0"/>
              <a:t> access </a:t>
            </a:r>
            <a:r>
              <a:rPr lang="nl-NL" dirty="0" err="1" smtClean="0"/>
              <a:t>to</a:t>
            </a:r>
            <a:endParaRPr lang="nl-NL" dirty="0" smtClean="0"/>
          </a:p>
          <a:p>
            <a:pPr lvl="1"/>
            <a:r>
              <a:rPr lang="nl-NL" dirty="0" smtClean="0"/>
              <a:t>On </a:t>
            </a:r>
            <a:r>
              <a:rPr lang="nl-NL" dirty="0" err="1" smtClean="0"/>
              <a:t>demand</a:t>
            </a:r>
            <a:r>
              <a:rPr lang="nl-NL" dirty="0" smtClean="0"/>
              <a:t> response </a:t>
            </a:r>
            <a:r>
              <a:rPr lang="nl-NL" dirty="0" err="1" smtClean="0"/>
              <a:t>necessary</a:t>
            </a:r>
            <a:r>
              <a:rPr lang="nl-NL" dirty="0" smtClean="0"/>
              <a:t>?</a:t>
            </a:r>
          </a:p>
          <a:p>
            <a:pPr lvl="1"/>
            <a:r>
              <a:rPr lang="nl-NL" dirty="0" err="1" smtClean="0"/>
              <a:t>Balancing</a:t>
            </a:r>
            <a:r>
              <a:rPr lang="nl-NL" dirty="0" smtClean="0"/>
              <a:t> energy market</a:t>
            </a:r>
          </a:p>
          <a:p>
            <a:pPr lvl="1"/>
            <a:r>
              <a:rPr lang="nl-NL" dirty="0" err="1" smtClean="0"/>
              <a:t>One</a:t>
            </a:r>
            <a:r>
              <a:rPr lang="nl-NL" dirty="0" smtClean="0"/>
              <a:t> European energy system</a:t>
            </a:r>
          </a:p>
          <a:p>
            <a:pPr lvl="1"/>
            <a:r>
              <a:rPr lang="nl-NL" dirty="0" err="1" smtClean="0"/>
              <a:t>Standardization</a:t>
            </a:r>
            <a:r>
              <a:rPr lang="nl-NL" dirty="0" smtClean="0"/>
              <a:t> of data</a:t>
            </a:r>
          </a:p>
        </p:txBody>
      </p:sp>
    </p:spTree>
    <p:extLst>
      <p:ext uri="{BB962C8B-B14F-4D97-AF65-F5344CB8AC3E}">
        <p14:creationId xmlns:p14="http://schemas.microsoft.com/office/powerpoint/2010/main" val="137067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Our</a:t>
            </a:r>
            <a:r>
              <a:rPr lang="nl-NL" dirty="0" smtClean="0"/>
              <a:t> </a:t>
            </a:r>
            <a:r>
              <a:rPr lang="nl-NL" dirty="0" err="1" smtClean="0"/>
              <a:t>principles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6</a:t>
            </a:fld>
            <a:endParaRPr lang="nl-NL" dirty="0"/>
          </a:p>
        </p:txBody>
      </p:sp>
      <p:sp>
        <p:nvSpPr>
          <p:cNvPr id="6" name="Tijdelijke aanduiding voor inhou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 smtClean="0"/>
              <a:t>Setting a </a:t>
            </a:r>
            <a:r>
              <a:rPr lang="nl-NL" b="1" dirty="0" smtClean="0"/>
              <a:t>new standard </a:t>
            </a:r>
            <a:r>
              <a:rPr lang="nl-NL" dirty="0" err="1" smtClean="0"/>
              <a:t>for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r>
              <a:rPr lang="nl-NL" dirty="0" smtClean="0"/>
              <a:t> </a:t>
            </a:r>
            <a:r>
              <a:rPr lang="nl-NL" b="1" dirty="0" smtClean="0"/>
              <a:t>secure </a:t>
            </a:r>
            <a:r>
              <a:rPr lang="nl-NL" b="1" dirty="0" err="1" smtClean="0"/>
              <a:t>sharing</a:t>
            </a:r>
            <a:r>
              <a:rPr lang="nl-NL" b="1" dirty="0" smtClean="0"/>
              <a:t> </a:t>
            </a:r>
            <a:r>
              <a:rPr lang="nl-NL" dirty="0" smtClean="0"/>
              <a:t>of </a:t>
            </a:r>
            <a:r>
              <a:rPr lang="nl-NL" b="1" dirty="0" smtClean="0"/>
              <a:t>energy data</a:t>
            </a:r>
            <a:r>
              <a:rPr lang="nl-NL" dirty="0" smtClean="0"/>
              <a:t>.</a:t>
            </a:r>
          </a:p>
          <a:p>
            <a:pPr marL="0" indent="0">
              <a:buNone/>
            </a:pPr>
            <a:endParaRPr lang="nl-NL" dirty="0" smtClean="0"/>
          </a:p>
          <a:p>
            <a:pPr marL="0" indent="0">
              <a:buNone/>
            </a:pPr>
            <a:r>
              <a:rPr lang="nl-NL" dirty="0" smtClean="0"/>
              <a:t>	Control</a:t>
            </a:r>
          </a:p>
          <a:p>
            <a:pPr marL="0" indent="0">
              <a:buNone/>
            </a:pPr>
            <a:r>
              <a:rPr lang="nl-NL" dirty="0" smtClean="0"/>
              <a:t>	</a:t>
            </a:r>
            <a:r>
              <a:rPr lang="nl-NL" dirty="0" err="1" smtClean="0"/>
              <a:t>Anonimity</a:t>
            </a:r>
            <a:r>
              <a:rPr lang="nl-NL" dirty="0" smtClean="0"/>
              <a:t> </a:t>
            </a:r>
            <a:endParaRPr lang="nl-NL" dirty="0"/>
          </a:p>
          <a:p>
            <a:pPr marL="0" indent="0">
              <a:buNone/>
            </a:pPr>
            <a:r>
              <a:rPr lang="nl-NL" dirty="0" smtClean="0"/>
              <a:t>	Connectivity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freedom</a:t>
            </a:r>
            <a:r>
              <a:rPr lang="nl-NL" dirty="0" smtClean="0"/>
              <a:t> of </a:t>
            </a:r>
            <a:r>
              <a:rPr lang="nl-NL" dirty="0" err="1" smtClean="0"/>
              <a:t>choice</a:t>
            </a:r>
            <a:endParaRPr lang="nl-NL" dirty="0" smtClean="0"/>
          </a:p>
          <a:p>
            <a:pPr marL="0" indent="0">
              <a:buNone/>
            </a:pPr>
            <a:r>
              <a:rPr lang="nl-NL" dirty="0" smtClean="0"/>
              <a:t>	Security</a:t>
            </a:r>
          </a:p>
          <a:p>
            <a:pPr marL="0" indent="0">
              <a:buNone/>
            </a:pPr>
            <a:r>
              <a:rPr lang="nl-NL" dirty="0" smtClean="0"/>
              <a:t>	Independent </a:t>
            </a:r>
          </a:p>
          <a:p>
            <a:pPr marL="0" indent="0">
              <a:buNone/>
            </a:pPr>
            <a:endParaRPr lang="nl-NL" dirty="0" smtClean="0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7" y="1843244"/>
            <a:ext cx="360040" cy="360040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247" y="2058928"/>
            <a:ext cx="699542" cy="699542"/>
          </a:xfrm>
          <a:prstGeom prst="rect">
            <a:avLst/>
          </a:prstGeom>
        </p:spPr>
      </p:pic>
      <p:pic>
        <p:nvPicPr>
          <p:cNvPr id="2050" name="Picture 2" descr="C:\Users\al14135\Downloads\noun_91930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42" y="2638628"/>
            <a:ext cx="450637" cy="450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al14135\Downloads\noun_962208 (1)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05" y="3089265"/>
            <a:ext cx="411510" cy="411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al14135\Downloads\noun_2346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61" y="3579862"/>
            <a:ext cx="319492" cy="31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3815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How </a:t>
            </a:r>
            <a:r>
              <a:rPr lang="nl-NL" dirty="0" err="1" smtClean="0"/>
              <a:t>it</a:t>
            </a:r>
            <a:r>
              <a:rPr lang="nl-NL" dirty="0" smtClean="0"/>
              <a:t> </a:t>
            </a:r>
            <a:r>
              <a:rPr lang="nl-NL" dirty="0" err="1" smtClean="0"/>
              <a:t>works</a:t>
            </a:r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7</a:t>
            </a:fld>
            <a:endParaRPr lang="nl-NL" dirty="0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1419622"/>
            <a:ext cx="898656" cy="1080991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1417203"/>
            <a:ext cx="1218484" cy="1218484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2986338"/>
            <a:ext cx="898656" cy="1080991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995017" y="1721147"/>
            <a:ext cx="610597" cy="610597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995016" y="3221531"/>
            <a:ext cx="610597" cy="610597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731" y="3247233"/>
            <a:ext cx="572845" cy="572845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5614" y="987574"/>
            <a:ext cx="609242" cy="609242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2157" y="987574"/>
            <a:ext cx="609242" cy="609242"/>
          </a:xfrm>
          <a:prstGeom prst="rect">
            <a:avLst/>
          </a:prstGeom>
        </p:spPr>
      </p:pic>
      <p:pic>
        <p:nvPicPr>
          <p:cNvPr id="17" name="Afbeelding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098" y="987574"/>
            <a:ext cx="609242" cy="609242"/>
          </a:xfrm>
          <a:prstGeom prst="rect">
            <a:avLst/>
          </a:prstGeom>
        </p:spPr>
      </p:pic>
      <p:cxnSp>
        <p:nvCxnSpPr>
          <p:cNvPr id="19" name="Rechte verbindingslijn met pijl 18"/>
          <p:cNvCxnSpPr/>
          <p:nvPr/>
        </p:nvCxnSpPr>
        <p:spPr>
          <a:xfrm flipH="1" flipV="1">
            <a:off x="3910235" y="1491630"/>
            <a:ext cx="156492" cy="2295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chte verbindingslijn met pijl 19"/>
          <p:cNvCxnSpPr/>
          <p:nvPr/>
        </p:nvCxnSpPr>
        <p:spPr>
          <a:xfrm flipV="1">
            <a:off x="4824098" y="1491630"/>
            <a:ext cx="174298" cy="2295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chte verbindingslijn met pijl 21"/>
          <p:cNvCxnSpPr/>
          <p:nvPr/>
        </p:nvCxnSpPr>
        <p:spPr>
          <a:xfrm flipV="1">
            <a:off x="4526778" y="1463237"/>
            <a:ext cx="3030" cy="1538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Afbeelding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2922006"/>
            <a:ext cx="609242" cy="609242"/>
          </a:xfrm>
          <a:prstGeom prst="rect">
            <a:avLst/>
          </a:prstGeom>
        </p:spPr>
      </p:pic>
      <p:pic>
        <p:nvPicPr>
          <p:cNvPr id="27" name="Afbeelding 2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3346378"/>
            <a:ext cx="609242" cy="609242"/>
          </a:xfrm>
          <a:prstGeom prst="rect">
            <a:avLst/>
          </a:prstGeom>
        </p:spPr>
      </p:pic>
      <p:pic>
        <p:nvPicPr>
          <p:cNvPr id="28" name="Afbeelding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3762708"/>
            <a:ext cx="609242" cy="609242"/>
          </a:xfrm>
          <a:prstGeom prst="rect">
            <a:avLst/>
          </a:prstGeom>
        </p:spPr>
      </p:pic>
      <p:cxnSp>
        <p:nvCxnSpPr>
          <p:cNvPr id="30" name="Rechte verbindingslijn met pijl 29"/>
          <p:cNvCxnSpPr/>
          <p:nvPr/>
        </p:nvCxnSpPr>
        <p:spPr>
          <a:xfrm>
            <a:off x="4998396" y="3490828"/>
            <a:ext cx="39597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Afbeelding 3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1645939"/>
            <a:ext cx="757975" cy="757975"/>
          </a:xfrm>
          <a:prstGeom prst="rect">
            <a:avLst/>
          </a:prstGeom>
        </p:spPr>
      </p:pic>
      <p:pic>
        <p:nvPicPr>
          <p:cNvPr id="32" name="Afbeelding 3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3147843"/>
            <a:ext cx="757975" cy="757975"/>
          </a:xfrm>
          <a:prstGeom prst="rect">
            <a:avLst/>
          </a:prstGeom>
        </p:spPr>
      </p:pic>
      <p:pic>
        <p:nvPicPr>
          <p:cNvPr id="34" name="Afbeelding 3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310" y="1740021"/>
            <a:ext cx="572845" cy="572845"/>
          </a:xfrm>
          <a:prstGeom prst="rect">
            <a:avLst/>
          </a:prstGeom>
        </p:spPr>
      </p:pic>
      <p:cxnSp>
        <p:nvCxnSpPr>
          <p:cNvPr id="35" name="Rechte verbindingslijn met pijl 34"/>
          <p:cNvCxnSpPr/>
          <p:nvPr/>
        </p:nvCxnSpPr>
        <p:spPr>
          <a:xfrm>
            <a:off x="4998396" y="2034055"/>
            <a:ext cx="39597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58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8</a:t>
            </a:fld>
            <a:endParaRPr lang="nl-NL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627533"/>
            <a:ext cx="3075963" cy="3829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808648"/>
            <a:ext cx="3897623" cy="198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536400" y="4608000"/>
            <a:ext cx="7560000" cy="144000"/>
          </a:xfrm>
        </p:spPr>
        <p:txBody>
          <a:bodyPr/>
          <a:lstStyle/>
          <a:p>
            <a:r>
              <a:rPr lang="nl-NL" dirty="0" smtClean="0"/>
              <a:t>09.19.2017</a:t>
            </a:r>
            <a:endParaRPr lang="nl-NL" dirty="0"/>
          </a:p>
        </p:txBody>
      </p:sp>
      <p:sp>
        <p:nvSpPr>
          <p:cNvPr id="10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536400" y="4770000"/>
            <a:ext cx="7560000" cy="144000"/>
          </a:xfrm>
        </p:spPr>
        <p:txBody>
          <a:bodyPr/>
          <a:lstStyle/>
          <a:p>
            <a:r>
              <a:rPr lang="nl-NL" dirty="0"/>
              <a:t>Consumer in Control ETIP SNET workshop</a:t>
            </a:r>
          </a:p>
        </p:txBody>
      </p:sp>
    </p:spTree>
    <p:extLst>
      <p:ext uri="{BB962C8B-B14F-4D97-AF65-F5344CB8AC3E}">
        <p14:creationId xmlns:p14="http://schemas.microsoft.com/office/powerpoint/2010/main" val="339896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9</a:t>
            </a:fld>
            <a:endParaRPr lang="nl-NL" dirty="0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r>
              <a:rPr lang="nl-NL" sz="3600" dirty="0" smtClean="0"/>
              <a:t>Privacy is </a:t>
            </a:r>
            <a:r>
              <a:rPr lang="nl-NL" sz="3600" dirty="0" err="1" smtClean="0"/>
              <a:t>not</a:t>
            </a:r>
            <a:r>
              <a:rPr lang="nl-NL" sz="3600" dirty="0" smtClean="0"/>
              <a:t> </a:t>
            </a:r>
            <a:r>
              <a:rPr lang="nl-NL" sz="3600" dirty="0" err="1" smtClean="0"/>
              <a:t>for</a:t>
            </a:r>
            <a:r>
              <a:rPr lang="nl-NL" sz="3600" dirty="0" smtClean="0"/>
              <a:t> sale!</a:t>
            </a:r>
            <a:endParaRPr lang="nl-NL" sz="3600" dirty="0"/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64045">
            <a:off x="5200717" y="1832315"/>
            <a:ext cx="735665" cy="735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394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liander_Breedbeeld_v0">
  <a:themeElements>
    <a:clrScheme name="Alliander kleurpalet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7DB43C"/>
      </a:accent1>
      <a:accent2>
        <a:srgbClr val="E66E00"/>
      </a:accent2>
      <a:accent3>
        <a:srgbClr val="AF191E"/>
      </a:accent3>
      <a:accent4>
        <a:srgbClr val="000000"/>
      </a:accent4>
      <a:accent5>
        <a:srgbClr val="C8C8C8"/>
      </a:accent5>
      <a:accent6>
        <a:srgbClr val="821E7D"/>
      </a:accent6>
      <a:hlink>
        <a:srgbClr val="7DB43C"/>
      </a:hlink>
      <a:folHlink>
        <a:srgbClr val="7DB43C"/>
      </a:folHlink>
    </a:clrScheme>
    <a:fontScheme name="TN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vert="horz"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lliander_Breedbeeld_v0.potx</Template>
  <TotalTime>0</TotalTime>
  <Words>371</Words>
  <Application>Microsoft Office PowerPoint</Application>
  <PresentationFormat>Presentación en pantalla (16:9)</PresentationFormat>
  <Paragraphs>128</Paragraphs>
  <Slides>13</Slides>
  <Notes>1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5" baseType="lpstr">
      <vt:lpstr>Alliander_Breedbeeld_v0</vt:lpstr>
      <vt:lpstr>think-cell Slide</vt:lpstr>
      <vt:lpstr>Presentación de PowerPoint</vt:lpstr>
      <vt:lpstr>Smartwatch (sensor)</vt:lpstr>
      <vt:lpstr>Smart meter (sensor)</vt:lpstr>
      <vt:lpstr>Current situation (NL)</vt:lpstr>
      <vt:lpstr>Current situation (EU)</vt:lpstr>
      <vt:lpstr>Our principles</vt:lpstr>
      <vt:lpstr>How it works</vt:lpstr>
      <vt:lpstr>Presentación de PowerPoint</vt:lpstr>
      <vt:lpstr>Presentación de PowerPoint</vt:lpstr>
      <vt:lpstr>Solution</vt:lpstr>
      <vt:lpstr>Positive key learning aspects</vt:lpstr>
      <vt:lpstr>Difficult/unexpected issues</vt:lpstr>
      <vt:lpstr>Presentación de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Alliander Breedbeeld - versie 1 - december 2015</dc:description>
  <cp:lastModifiedBy/>
  <cp:revision>1</cp:revision>
  <dcterms:created xsi:type="dcterms:W3CDTF">2015-12-17T16:04:41Z</dcterms:created>
  <dcterms:modified xsi:type="dcterms:W3CDTF">2017-09-19T07:04:48Z</dcterms:modified>
</cp:coreProperties>
</file>